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8" r:id="rId4"/>
  </p:sldMasterIdLst>
  <p:notesMasterIdLst>
    <p:notesMasterId r:id="rId6"/>
  </p:notesMasterIdLst>
  <p:handoutMasterIdLst>
    <p:handoutMasterId r:id="rId7"/>
  </p:handoutMasterIdLst>
  <p:sldIdLst>
    <p:sldId id="301" r:id="rId5"/>
  </p:sldIdLst>
  <p:sldSz cx="12188825" cy="6858000"/>
  <p:notesSz cx="6858000" cy="92964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Segoe UI" panose="020B0502040204020203" pitchFamily="34" charset="0"/>
      <p:regular r:id="rId12"/>
      <p:bold r:id="rId13"/>
      <p:italic r:id="rId14"/>
      <p:boldItalic r:id="rId15"/>
    </p:embeddedFont>
    <p:embeddedFont>
      <p:font typeface="Segoe UI Semibold" panose="020B0702040204020203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C94A123-7987-4F19-8071-061A44AAAC5E}">
          <p14:sldIdLst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10" pos="263" userDrawn="1">
          <p15:clr>
            <a:srgbClr val="A4A3A4"/>
          </p15:clr>
        </p15:guide>
        <p15:guide id="12" orient="horz" pos="131" userDrawn="1">
          <p15:clr>
            <a:srgbClr val="A4A3A4"/>
          </p15:clr>
        </p15:guide>
        <p15:guide id="14" pos="7415" userDrawn="1">
          <p15:clr>
            <a:srgbClr val="A4A3A4"/>
          </p15:clr>
        </p15:guide>
        <p15:guide id="20" orient="horz" pos="40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s Andersen" initials="" lastIdx="1" clrIdx="0"/>
  <p:cmAuthor id="1" name="Michelle Davis" initials="MD" lastIdx="21" clrIdx="1"/>
  <p:cmAuthor id="2" name="Hanna Boyle" initials="HB" lastIdx="2" clrIdx="2"/>
  <p:cmAuthor id="3" name="Carissa Wright (Touch Worldwide)" initials="CW" lastIdx="2" clrIdx="3"/>
  <p:cmAuthor id="4" name="Brook Bower" initials="BB" lastIdx="15" clrIdx="4"/>
  <p:cmAuthor id="5" name="Gail Manuguid (LCA)" initials="GM(" lastIdx="4" clrIdx="5"/>
  <p:cmAuthor id="6" name="Joe Gura" initials="JG" lastIdx="10" clrIdx="6">
    <p:extLst>
      <p:ext uri="{19B8F6BF-5375-455C-9EA6-DF929625EA0E}">
        <p15:presenceInfo xmlns:p15="http://schemas.microsoft.com/office/powerpoint/2012/main" userId="S-1-5-21-2127521184-1604012920-1887927527-20345457" providerId="AD"/>
      </p:ext>
    </p:extLst>
  </p:cmAuthor>
  <p:cmAuthor id="7" name="Kathryn Courtney" initials="KC" lastIdx="30" clrIdx="7">
    <p:extLst>
      <p:ext uri="{19B8F6BF-5375-455C-9EA6-DF929625EA0E}">
        <p15:presenceInfo xmlns:p15="http://schemas.microsoft.com/office/powerpoint/2012/main" userId="Kathryn Courtney" providerId="None"/>
      </p:ext>
    </p:extLst>
  </p:cmAuthor>
  <p:cmAuthor id="8" name="Danielle Dargavel" initials="DD" lastIdx="15" clrIdx="8">
    <p:extLst>
      <p:ext uri="{19B8F6BF-5375-455C-9EA6-DF929625EA0E}">
        <p15:presenceInfo xmlns:p15="http://schemas.microsoft.com/office/powerpoint/2012/main" userId="Danielle Dargavel" providerId="None"/>
      </p:ext>
    </p:extLst>
  </p:cmAuthor>
  <p:cmAuthor id="9" name="Kathryn Courtney (Audienz LLC)" initials="KC(L" lastIdx="17" clrIdx="9">
    <p:extLst>
      <p:ext uri="{19B8F6BF-5375-455C-9EA6-DF929625EA0E}">
        <p15:presenceInfo xmlns:p15="http://schemas.microsoft.com/office/powerpoint/2012/main" userId="Kathryn Courtney (Audienz LLC)" providerId="None"/>
      </p:ext>
    </p:extLst>
  </p:cmAuthor>
  <p:cmAuthor id="10" name="Greg" initials="BT" lastIdx="0" clrIdx="10"/>
  <p:cmAuthor id="11" name="Travis Nesse" initials="TN" lastIdx="31" clrIdx="11">
    <p:extLst>
      <p:ext uri="{19B8F6BF-5375-455C-9EA6-DF929625EA0E}">
        <p15:presenceInfo xmlns:p15="http://schemas.microsoft.com/office/powerpoint/2012/main" userId="Travis Nesse" providerId="None"/>
      </p:ext>
    </p:extLst>
  </p:cmAuthor>
  <p:cmAuthor id="12" name="Danielle" initials="D" lastIdx="5" clrIdx="12">
    <p:extLst>
      <p:ext uri="{19B8F6BF-5375-455C-9EA6-DF929625EA0E}">
        <p15:presenceInfo xmlns:p15="http://schemas.microsoft.com/office/powerpoint/2012/main" userId="Danielle" providerId="None"/>
      </p:ext>
    </p:extLst>
  </p:cmAuthor>
  <p:cmAuthor id="13" name="James Nesse" initials="JN" lastIdx="19" clrIdx="13">
    <p:extLst>
      <p:ext uri="{19B8F6BF-5375-455C-9EA6-DF929625EA0E}">
        <p15:presenceInfo xmlns:p15="http://schemas.microsoft.com/office/powerpoint/2012/main" userId="209d8c40762552e6" providerId="Windows Live"/>
      </p:ext>
    </p:extLst>
  </p:cmAuthor>
  <p:cmAuthor id="14" name="Mary Lisa Newman" initials="MLN" lastIdx="38" clrIdx="14">
    <p:extLst>
      <p:ext uri="{19B8F6BF-5375-455C-9EA6-DF929625EA0E}">
        <p15:presenceInfo xmlns:p15="http://schemas.microsoft.com/office/powerpoint/2012/main" userId="Mary Lisa Newman" providerId="None"/>
      </p:ext>
    </p:extLst>
  </p:cmAuthor>
  <p:cmAuthor id="15" name="Adrienne Krefft" initials="AK" lastIdx="11" clrIdx="15">
    <p:extLst>
      <p:ext uri="{19B8F6BF-5375-455C-9EA6-DF929625EA0E}">
        <p15:presenceInfo xmlns:p15="http://schemas.microsoft.com/office/powerpoint/2012/main" userId="S::adkrefft@microsoft.com::5324d489-71df-426f-9522-b8707af7c6b7" providerId="AD"/>
      </p:ext>
    </p:extLst>
  </p:cmAuthor>
  <p:cmAuthor id="16" name="Andrew Childs" initials="AC" lastIdx="12" clrIdx="16">
    <p:extLst>
      <p:ext uri="{19B8F6BF-5375-455C-9EA6-DF929625EA0E}">
        <p15:presenceInfo xmlns:p15="http://schemas.microsoft.com/office/powerpoint/2012/main" userId="Andrew Childs" providerId="None"/>
      </p:ext>
    </p:extLst>
  </p:cmAuthor>
  <p:cmAuthor id="17" name="Melissa Hovis" initials="MH" lastIdx="6" clrIdx="17">
    <p:extLst>
      <p:ext uri="{19B8F6BF-5375-455C-9EA6-DF929625EA0E}">
        <p15:presenceInfo xmlns:p15="http://schemas.microsoft.com/office/powerpoint/2012/main" userId="S-1-12-1-3347228509-1226612902-1976318136-3020564244" providerId="AD"/>
      </p:ext>
    </p:extLst>
  </p:cmAuthor>
  <p:cmAuthor id="18" name="Astha Malik" initials="AM" lastIdx="5" clrIdx="18">
    <p:extLst>
      <p:ext uri="{19B8F6BF-5375-455C-9EA6-DF929625EA0E}">
        <p15:presenceInfo xmlns:p15="http://schemas.microsoft.com/office/powerpoint/2012/main" userId="S::asmalik@microsoft.com::f2c76ab3-2e1e-49d0-a2ea-fa8f3eb399fd" providerId="AD"/>
      </p:ext>
    </p:extLst>
  </p:cmAuthor>
  <p:cmAuthor id="19" name="Mary Lisa Newman" initials="MLN [2]" lastIdx="1" clrIdx="19">
    <p:extLst>
      <p:ext uri="{19B8F6BF-5375-455C-9EA6-DF929625EA0E}">
        <p15:presenceInfo xmlns:p15="http://schemas.microsoft.com/office/powerpoint/2012/main" userId="S::marylisa@audienz.com::9c8cba21-67a1-4aa9-98ba-c4ca1eda0aa0" providerId="AD"/>
      </p:ext>
    </p:extLst>
  </p:cmAuthor>
  <p:cmAuthor id="20" name="Connor Schmidt" initials="CS" lastIdx="1" clrIdx="20">
    <p:extLst>
      <p:ext uri="{19B8F6BF-5375-455C-9EA6-DF929625EA0E}">
        <p15:presenceInfo xmlns:p15="http://schemas.microsoft.com/office/powerpoint/2012/main" userId="S::connor@audienz.com::09332ba3-bace-4762-933e-6733a8e219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3D70"/>
    <a:srgbClr val="0078D4"/>
    <a:srgbClr val="F2F2F2"/>
    <a:srgbClr val="0072C6"/>
    <a:srgbClr val="007EE2"/>
    <a:srgbClr val="464646"/>
    <a:srgbClr val="848484"/>
    <a:srgbClr val="005695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98FFD6-AF5F-A84F-C100-63B0D7BAD9B2}" v="32" dt="2020-07-29T23:18:00.7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92" d="100"/>
          <a:sy n="92" d="100"/>
        </p:scale>
        <p:origin x="44" y="64"/>
      </p:cViewPr>
      <p:guideLst>
        <p:guide pos="263"/>
        <p:guide orient="horz" pos="131"/>
        <p:guide pos="7415"/>
        <p:guide orient="horz" pos="40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31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avis Nesse" userId="7f5cd6f3-7534-4332-8f38-a3b44d62a5a5" providerId="ADAL" clId="{A3AE8565-04A3-49A0-A007-9904EF2B0DA2}"/>
    <pc:docChg chg="undo custSel delSld modSld modSection">
      <pc:chgData name="Travis Nesse" userId="7f5cd6f3-7534-4332-8f38-a3b44d62a5a5" providerId="ADAL" clId="{A3AE8565-04A3-49A0-A007-9904EF2B0DA2}" dt="2020-06-26T19:18:46.585" v="645" actId="1035"/>
      <pc:docMkLst>
        <pc:docMk/>
      </pc:docMkLst>
      <pc:sldChg chg="del">
        <pc:chgData name="Travis Nesse" userId="7f5cd6f3-7534-4332-8f38-a3b44d62a5a5" providerId="ADAL" clId="{A3AE8565-04A3-49A0-A007-9904EF2B0DA2}" dt="2020-06-26T18:51:11.247" v="0" actId="47"/>
        <pc:sldMkLst>
          <pc:docMk/>
          <pc:sldMk cId="2702476381" sldId="300"/>
        </pc:sldMkLst>
      </pc:sldChg>
      <pc:sldChg chg="addSp delSp modSp">
        <pc:chgData name="Travis Nesse" userId="7f5cd6f3-7534-4332-8f38-a3b44d62a5a5" providerId="ADAL" clId="{A3AE8565-04A3-49A0-A007-9904EF2B0DA2}" dt="2020-06-26T19:18:46.585" v="645" actId="1035"/>
        <pc:sldMkLst>
          <pc:docMk/>
          <pc:sldMk cId="2528275185" sldId="301"/>
        </pc:sldMkLst>
        <pc:spChg chg="add mod">
          <ac:chgData name="Travis Nesse" userId="7f5cd6f3-7534-4332-8f38-a3b44d62a5a5" providerId="ADAL" clId="{A3AE8565-04A3-49A0-A007-9904EF2B0DA2}" dt="2020-06-26T19:17:39.243" v="630" actId="1036"/>
          <ac:spMkLst>
            <pc:docMk/>
            <pc:sldMk cId="2528275185" sldId="301"/>
            <ac:spMk id="5" creationId="{C367DF96-4160-4EFC-8EF2-6ED4577D5A61}"/>
          </ac:spMkLst>
        </pc:spChg>
        <pc:spChg chg="add mod">
          <ac:chgData name="Travis Nesse" userId="7f5cd6f3-7534-4332-8f38-a3b44d62a5a5" providerId="ADAL" clId="{A3AE8565-04A3-49A0-A007-9904EF2B0DA2}" dt="2020-06-26T18:58:14.408" v="91" actId="164"/>
          <ac:spMkLst>
            <pc:docMk/>
            <pc:sldMk cId="2528275185" sldId="301"/>
            <ac:spMk id="7" creationId="{6773E575-9431-4590-B8D7-46AA60E5B541}"/>
          </ac:spMkLst>
        </pc:spChg>
        <pc:spChg chg="add del mod">
          <ac:chgData name="Travis Nesse" userId="7f5cd6f3-7534-4332-8f38-a3b44d62a5a5" providerId="ADAL" clId="{A3AE8565-04A3-49A0-A007-9904EF2B0DA2}" dt="2020-06-26T19:03:38.710" v="348"/>
          <ac:spMkLst>
            <pc:docMk/>
            <pc:sldMk cId="2528275185" sldId="301"/>
            <ac:spMk id="8" creationId="{1163D2EB-8A0C-41D3-A19B-679E1EDF1888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10" creationId="{89D6841B-6624-44C9-BCB1-7CEEA234D1AB}"/>
          </ac:spMkLst>
        </pc:spChg>
        <pc:spChg chg="del">
          <ac:chgData name="Travis Nesse" userId="7f5cd6f3-7534-4332-8f38-a3b44d62a5a5" providerId="ADAL" clId="{A3AE8565-04A3-49A0-A007-9904EF2B0DA2}" dt="2020-06-26T19:04:58.583" v="358" actId="478"/>
          <ac:spMkLst>
            <pc:docMk/>
            <pc:sldMk cId="2528275185" sldId="301"/>
            <ac:spMk id="12" creationId="{CA9DC9E8-09BC-49FE-99EB-3DB15A4CC0C6}"/>
          </ac:spMkLst>
        </pc:spChg>
        <pc:spChg chg="del">
          <ac:chgData name="Travis Nesse" userId="7f5cd6f3-7534-4332-8f38-a3b44d62a5a5" providerId="ADAL" clId="{A3AE8565-04A3-49A0-A007-9904EF2B0DA2}" dt="2020-06-26T19:04:53.871" v="355" actId="478"/>
          <ac:spMkLst>
            <pc:docMk/>
            <pc:sldMk cId="2528275185" sldId="301"/>
            <ac:spMk id="13" creationId="{D2A40289-CC1D-4D90-9203-F792E222DA20}"/>
          </ac:spMkLst>
        </pc:spChg>
        <pc:spChg chg="del">
          <ac:chgData name="Travis Nesse" userId="7f5cd6f3-7534-4332-8f38-a3b44d62a5a5" providerId="ADAL" clId="{A3AE8565-04A3-49A0-A007-9904EF2B0DA2}" dt="2020-06-26T19:04:51.896" v="354" actId="478"/>
          <ac:spMkLst>
            <pc:docMk/>
            <pc:sldMk cId="2528275185" sldId="301"/>
            <ac:spMk id="22" creationId="{41A178BA-A10C-4F5D-B3C3-00DAFF6A2F05}"/>
          </ac:spMkLst>
        </pc:spChg>
        <pc:spChg chg="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23" creationId="{A270816A-46A0-4FE0-8D85-3930ED121F73}"/>
          </ac:spMkLst>
        </pc:spChg>
        <pc:spChg chg="mod ord">
          <ac:chgData name="Travis Nesse" userId="7f5cd6f3-7534-4332-8f38-a3b44d62a5a5" providerId="ADAL" clId="{A3AE8565-04A3-49A0-A007-9904EF2B0DA2}" dt="2020-06-26T19:17:28.978" v="613" actId="1076"/>
          <ac:spMkLst>
            <pc:docMk/>
            <pc:sldMk cId="2528275185" sldId="301"/>
            <ac:spMk id="38" creationId="{2D77133A-EFCB-42BD-81EF-7BB805D163A2}"/>
          </ac:spMkLst>
        </pc:spChg>
        <pc:spChg chg="mod">
          <ac:chgData name="Travis Nesse" userId="7f5cd6f3-7534-4332-8f38-a3b44d62a5a5" providerId="ADAL" clId="{A3AE8565-04A3-49A0-A007-9904EF2B0DA2}" dt="2020-06-26T19:17:39.243" v="630" actId="1036"/>
          <ac:spMkLst>
            <pc:docMk/>
            <pc:sldMk cId="2528275185" sldId="301"/>
            <ac:spMk id="39" creationId="{5A227718-FD9C-440E-BA32-3C2AE7D4DF5F}"/>
          </ac:spMkLst>
        </pc:spChg>
        <pc:spChg chg="del">
          <ac:chgData name="Travis Nesse" userId="7f5cd6f3-7534-4332-8f38-a3b44d62a5a5" providerId="ADAL" clId="{A3AE8565-04A3-49A0-A007-9904EF2B0DA2}" dt="2020-06-26T18:52:58.296" v="28" actId="478"/>
          <ac:spMkLst>
            <pc:docMk/>
            <pc:sldMk cId="2528275185" sldId="301"/>
            <ac:spMk id="40" creationId="{AFBA1038-C33B-40BA-B8B9-8B071DFF273B}"/>
          </ac:spMkLst>
        </pc:spChg>
        <pc:spChg chg="del mod">
          <ac:chgData name="Travis Nesse" userId="7f5cd6f3-7534-4332-8f38-a3b44d62a5a5" providerId="ADAL" clId="{A3AE8565-04A3-49A0-A007-9904EF2B0DA2}" dt="2020-06-26T18:51:19.924" v="2" actId="478"/>
          <ac:spMkLst>
            <pc:docMk/>
            <pc:sldMk cId="2528275185" sldId="301"/>
            <ac:spMk id="43" creationId="{7382C638-F1F6-4588-9A64-9B6D1CE8904F}"/>
          </ac:spMkLst>
        </pc:spChg>
        <pc:spChg chg="del mod">
          <ac:chgData name="Travis Nesse" userId="7f5cd6f3-7534-4332-8f38-a3b44d62a5a5" providerId="ADAL" clId="{A3AE8565-04A3-49A0-A007-9904EF2B0DA2}" dt="2020-06-26T18:51:19.924" v="2" actId="478"/>
          <ac:spMkLst>
            <pc:docMk/>
            <pc:sldMk cId="2528275185" sldId="301"/>
            <ac:spMk id="44" creationId="{8A4C2CB7-AD8B-4F9A-A34F-1FFA961B4A49}"/>
          </ac:spMkLst>
        </pc:spChg>
        <pc:spChg chg="del mod">
          <ac:chgData name="Travis Nesse" userId="7f5cd6f3-7534-4332-8f38-a3b44d62a5a5" providerId="ADAL" clId="{A3AE8565-04A3-49A0-A007-9904EF2B0DA2}" dt="2020-06-26T18:51:19.924" v="2" actId="478"/>
          <ac:spMkLst>
            <pc:docMk/>
            <pc:sldMk cId="2528275185" sldId="301"/>
            <ac:spMk id="45" creationId="{AA706161-2B84-4D6E-8A6D-6F25B42C1631}"/>
          </ac:spMkLst>
        </pc:spChg>
        <pc:spChg chg="del mod">
          <ac:chgData name="Travis Nesse" userId="7f5cd6f3-7534-4332-8f38-a3b44d62a5a5" providerId="ADAL" clId="{A3AE8565-04A3-49A0-A007-9904EF2B0DA2}" dt="2020-06-26T18:51:19.924" v="2" actId="478"/>
          <ac:spMkLst>
            <pc:docMk/>
            <pc:sldMk cId="2528275185" sldId="301"/>
            <ac:spMk id="46" creationId="{B2CFA3CB-831C-4490-99B1-520768885A3A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47" creationId="{4886C7CC-6395-4973-BB62-D1A1DD3EDA17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48" creationId="{48CEEA7E-A8C4-4912-8DE3-1F4858BD90AB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49" creationId="{CF712B37-E85E-41D3-AD6F-D2D34AF667DE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50" creationId="{512E22C6-E2AD-486E-9CD4-C0F060888021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51" creationId="{766F5F23-7961-4B02-8E7A-1A1D54B88771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52" creationId="{E32A921C-D697-4B9B-9D25-1EAE2B5487E3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53" creationId="{A270D7BF-026F-4DC3-9335-F807DB77CF63}"/>
          </ac:spMkLst>
        </pc:spChg>
        <pc:spChg chg="del">
          <ac:chgData name="Travis Nesse" userId="7f5cd6f3-7534-4332-8f38-a3b44d62a5a5" providerId="ADAL" clId="{A3AE8565-04A3-49A0-A007-9904EF2B0DA2}" dt="2020-06-26T18:51:23.093" v="3" actId="478"/>
          <ac:spMkLst>
            <pc:docMk/>
            <pc:sldMk cId="2528275185" sldId="301"/>
            <ac:spMk id="54" creationId="{2B126C7E-5AB4-47C2-84CE-B07EE9E1478C}"/>
          </ac:spMkLst>
        </pc:spChg>
        <pc:spChg chg="add mod">
          <ac:chgData name="Travis Nesse" userId="7f5cd6f3-7534-4332-8f38-a3b44d62a5a5" providerId="ADAL" clId="{A3AE8565-04A3-49A0-A007-9904EF2B0DA2}" dt="2020-06-26T19:18:23.734" v="636" actId="20577"/>
          <ac:spMkLst>
            <pc:docMk/>
            <pc:sldMk cId="2528275185" sldId="301"/>
            <ac:spMk id="57" creationId="{1BAD62F6-7B7C-4572-B1AE-BCDC2C17C4CF}"/>
          </ac:spMkLst>
        </pc:spChg>
        <pc:spChg chg="add mod">
          <ac:chgData name="Travis Nesse" userId="7f5cd6f3-7534-4332-8f38-a3b44d62a5a5" providerId="ADAL" clId="{A3AE8565-04A3-49A0-A007-9904EF2B0DA2}" dt="2020-06-26T19:18:26.062" v="638" actId="20577"/>
          <ac:spMkLst>
            <pc:docMk/>
            <pc:sldMk cId="2528275185" sldId="301"/>
            <ac:spMk id="65" creationId="{1FADE094-8124-4BEF-8D0A-D0474EA45223}"/>
          </ac:spMkLst>
        </pc:spChg>
        <pc:spChg chg="add del mod">
          <ac:chgData name="Travis Nesse" userId="7f5cd6f3-7534-4332-8f38-a3b44d62a5a5" providerId="ADAL" clId="{A3AE8565-04A3-49A0-A007-9904EF2B0DA2}" dt="2020-06-26T18:55:32.422" v="59" actId="478"/>
          <ac:spMkLst>
            <pc:docMk/>
            <pc:sldMk cId="2528275185" sldId="301"/>
            <ac:spMk id="67" creationId="{BB627B52-EFE4-49EE-AFC2-10DBBF31655F}"/>
          </ac:spMkLst>
        </pc:spChg>
        <pc:spChg chg="add mod">
          <ac:chgData name="Travis Nesse" userId="7f5cd6f3-7534-4332-8f38-a3b44d62a5a5" providerId="ADAL" clId="{A3AE8565-04A3-49A0-A007-9904EF2B0DA2}" dt="2020-06-26T18:58:14.408" v="91" actId="164"/>
          <ac:spMkLst>
            <pc:docMk/>
            <pc:sldMk cId="2528275185" sldId="301"/>
            <ac:spMk id="69" creationId="{91E4AE51-9413-4A45-AE42-87EBB979875A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0" creationId="{370676B1-B4D7-498C-AE94-D2CB4AD8A486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1" creationId="{871B7C61-1779-487F-BBAB-A08C43ABC08B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2" creationId="{079D709B-C43F-4A70-A57C-2B2AA0512F0B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3" creationId="{8E784E32-225F-4611-BC5B-092A462F6329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4" creationId="{6D240F0C-25D3-47BE-9E11-78373425A297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5" creationId="{0A73F81F-1F78-4CB6-9DD5-EDC018B169A5}"/>
          </ac:spMkLst>
        </pc:spChg>
        <pc:spChg chg="add mod">
          <ac:chgData name="Travis Nesse" userId="7f5cd6f3-7534-4332-8f38-a3b44d62a5a5" providerId="ADAL" clId="{A3AE8565-04A3-49A0-A007-9904EF2B0DA2}" dt="2020-06-26T19:11:10.961" v="484" actId="164"/>
          <ac:spMkLst>
            <pc:docMk/>
            <pc:sldMk cId="2528275185" sldId="301"/>
            <ac:spMk id="76" creationId="{98401D17-5B93-48EB-A003-49811FCDFCDF}"/>
          </ac:spMkLst>
        </pc:spChg>
        <pc:spChg chg="add mod">
          <ac:chgData name="Travis Nesse" userId="7f5cd6f3-7534-4332-8f38-a3b44d62a5a5" providerId="ADAL" clId="{A3AE8565-04A3-49A0-A007-9904EF2B0DA2}" dt="2020-06-26T19:11:39.880" v="493" actId="1036"/>
          <ac:spMkLst>
            <pc:docMk/>
            <pc:sldMk cId="2528275185" sldId="301"/>
            <ac:spMk id="77" creationId="{44D00D4C-6460-4F5A-8632-87EC9EAB470D}"/>
          </ac:spMkLst>
        </pc:spChg>
        <pc:spChg chg="add mod">
          <ac:chgData name="Travis Nesse" userId="7f5cd6f3-7534-4332-8f38-a3b44d62a5a5" providerId="ADAL" clId="{A3AE8565-04A3-49A0-A007-9904EF2B0DA2}" dt="2020-06-26T19:11:39.880" v="493" actId="1036"/>
          <ac:spMkLst>
            <pc:docMk/>
            <pc:sldMk cId="2528275185" sldId="301"/>
            <ac:spMk id="84" creationId="{6AB9D03D-0661-4EA8-AD06-ABFEFB7D38FC}"/>
          </ac:spMkLst>
        </pc:spChg>
        <pc:grpChg chg="del">
          <ac:chgData name="Travis Nesse" userId="7f5cd6f3-7534-4332-8f38-a3b44d62a5a5" providerId="ADAL" clId="{A3AE8565-04A3-49A0-A007-9904EF2B0DA2}" dt="2020-06-26T18:51:23.093" v="3" actId="478"/>
          <ac:grpSpMkLst>
            <pc:docMk/>
            <pc:sldMk cId="2528275185" sldId="301"/>
            <ac:grpSpMk id="2" creationId="{BEDA27A8-0B5C-4BB6-B203-AB081740FF1D}"/>
          </ac:grpSpMkLst>
        </pc:grpChg>
        <pc:grpChg chg="add mod">
          <ac:chgData name="Travis Nesse" userId="7f5cd6f3-7534-4332-8f38-a3b44d62a5a5" providerId="ADAL" clId="{A3AE8565-04A3-49A0-A007-9904EF2B0DA2}" dt="2020-06-26T19:11:10.961" v="484" actId="164"/>
          <ac:grpSpMkLst>
            <pc:docMk/>
            <pc:sldMk cId="2528275185" sldId="301"/>
            <ac:grpSpMk id="9" creationId="{7743D760-680C-45A4-8AC5-76F5D4C02B83}"/>
          </ac:grpSpMkLst>
        </pc:grpChg>
        <pc:grpChg chg="del mod">
          <ac:chgData name="Travis Nesse" userId="7f5cd6f3-7534-4332-8f38-a3b44d62a5a5" providerId="ADAL" clId="{A3AE8565-04A3-49A0-A007-9904EF2B0DA2}" dt="2020-06-26T19:04:58.583" v="358" actId="478"/>
          <ac:grpSpMkLst>
            <pc:docMk/>
            <pc:sldMk cId="2528275185" sldId="301"/>
            <ac:grpSpMk id="11" creationId="{374B1602-2535-44B2-95B1-E373BFCF0D06}"/>
          </ac:grpSpMkLst>
        </pc:grpChg>
        <pc:grpChg chg="del">
          <ac:chgData name="Travis Nesse" userId="7f5cd6f3-7534-4332-8f38-a3b44d62a5a5" providerId="ADAL" clId="{A3AE8565-04A3-49A0-A007-9904EF2B0DA2}" dt="2020-06-26T18:51:23.093" v="3" actId="478"/>
          <ac:grpSpMkLst>
            <pc:docMk/>
            <pc:sldMk cId="2528275185" sldId="301"/>
            <ac:grpSpMk id="14" creationId="{DFA9CCF6-F50A-4125-A1FE-30A57B755ACD}"/>
          </ac:grpSpMkLst>
        </pc:grpChg>
        <pc:grpChg chg="add mod">
          <ac:chgData name="Travis Nesse" userId="7f5cd6f3-7534-4332-8f38-a3b44d62a5a5" providerId="ADAL" clId="{A3AE8565-04A3-49A0-A007-9904EF2B0DA2}" dt="2020-06-26T19:18:46.585" v="645" actId="1035"/>
          <ac:grpSpMkLst>
            <pc:docMk/>
            <pc:sldMk cId="2528275185" sldId="301"/>
            <ac:grpSpMk id="24" creationId="{7E3829A4-1A99-4C69-83C3-ECF4E7A86282}"/>
          </ac:grpSpMkLst>
        </pc:grpChg>
        <pc:grpChg chg="del">
          <ac:chgData name="Travis Nesse" userId="7f5cd6f3-7534-4332-8f38-a3b44d62a5a5" providerId="ADAL" clId="{A3AE8565-04A3-49A0-A007-9904EF2B0DA2}" dt="2020-06-26T18:51:23.093" v="3" actId="478"/>
          <ac:grpSpMkLst>
            <pc:docMk/>
            <pc:sldMk cId="2528275185" sldId="301"/>
            <ac:grpSpMk id="58" creationId="{BB952651-92F3-4FAC-A35C-AAB0FED7554F}"/>
          </ac:grpSpMkLst>
        </pc:grpChg>
        <pc:picChg chg="add del mod modCrop">
          <ac:chgData name="Travis Nesse" userId="7f5cd6f3-7534-4332-8f38-a3b44d62a5a5" providerId="ADAL" clId="{A3AE8565-04A3-49A0-A007-9904EF2B0DA2}" dt="2020-06-26T19:17:11.301" v="607" actId="478"/>
          <ac:picMkLst>
            <pc:docMk/>
            <pc:sldMk cId="2528275185" sldId="301"/>
            <ac:picMk id="26" creationId="{8C931AD6-5711-4D8B-8C6E-65FA18328396}"/>
          </ac:picMkLst>
        </pc:picChg>
        <pc:picChg chg="mo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41" creationId="{E73F814C-424E-4E71-B26A-9D1D9046DD0B}"/>
          </ac:picMkLst>
        </pc:picChg>
        <pc:picChg chg="del">
          <ac:chgData name="Travis Nesse" userId="7f5cd6f3-7534-4332-8f38-a3b44d62a5a5" providerId="ADAL" clId="{A3AE8565-04A3-49A0-A007-9904EF2B0DA2}" dt="2020-06-26T18:51:23.093" v="3" actId="478"/>
          <ac:picMkLst>
            <pc:docMk/>
            <pc:sldMk cId="2528275185" sldId="301"/>
            <ac:picMk id="42" creationId="{675F0D2D-3BE5-46E6-9112-93BCE651E869}"/>
          </ac:picMkLst>
        </pc:picChg>
        <pc:picChg chg="add del mod">
          <ac:chgData name="Travis Nesse" userId="7f5cd6f3-7534-4332-8f38-a3b44d62a5a5" providerId="ADAL" clId="{A3AE8565-04A3-49A0-A007-9904EF2B0DA2}" dt="2020-06-26T19:07:48.444" v="431" actId="478"/>
          <ac:picMkLst>
            <pc:docMk/>
            <pc:sldMk cId="2528275185" sldId="301"/>
            <ac:picMk id="55" creationId="{377C0385-DC33-40D5-9E57-49CEE5CBCBF6}"/>
          </ac:picMkLst>
        </pc:picChg>
        <pc:picChg chg="del">
          <ac:chgData name="Travis Nesse" userId="7f5cd6f3-7534-4332-8f38-a3b44d62a5a5" providerId="ADAL" clId="{A3AE8565-04A3-49A0-A007-9904EF2B0DA2}" dt="2020-06-26T18:51:23.093" v="3" actId="478"/>
          <ac:picMkLst>
            <pc:docMk/>
            <pc:sldMk cId="2528275185" sldId="301"/>
            <ac:picMk id="56" creationId="{99E129A8-30BA-4807-A549-78874BA1B9AC}"/>
          </ac:picMkLst>
        </pc:picChg>
        <pc:picChg chg="add mod">
          <ac:chgData name="Travis Nesse" userId="7f5cd6f3-7534-4332-8f38-a3b44d62a5a5" providerId="ADAL" clId="{A3AE8565-04A3-49A0-A007-9904EF2B0DA2}" dt="2020-06-26T19:14:14.065" v="560" actId="1036"/>
          <ac:picMkLst>
            <pc:docMk/>
            <pc:sldMk cId="2528275185" sldId="301"/>
            <ac:picMk id="64" creationId="{7009AEA8-F197-40BA-B99B-E91D76AE51BE}"/>
          </ac:picMkLst>
        </pc:picChg>
        <pc:picChg chg="add mod">
          <ac:chgData name="Travis Nesse" userId="7f5cd6f3-7534-4332-8f38-a3b44d62a5a5" providerId="ADAL" clId="{A3AE8565-04A3-49A0-A007-9904EF2B0DA2}" dt="2020-06-26T19:14:14.065" v="560" actId="1036"/>
          <ac:picMkLst>
            <pc:docMk/>
            <pc:sldMk cId="2528275185" sldId="301"/>
            <ac:picMk id="66" creationId="{22157ADB-C3DA-4800-8C60-BE7E7B4F2DD3}"/>
          </ac:picMkLst>
        </pc:picChg>
        <pc:picChg chg="add del mod">
          <ac:chgData name="Travis Nesse" userId="7f5cd6f3-7534-4332-8f38-a3b44d62a5a5" providerId="ADAL" clId="{A3AE8565-04A3-49A0-A007-9904EF2B0DA2}" dt="2020-06-26T18:55:32.422" v="59" actId="478"/>
          <ac:picMkLst>
            <pc:docMk/>
            <pc:sldMk cId="2528275185" sldId="301"/>
            <ac:picMk id="68" creationId="{B364EB31-08BC-427D-9F45-6A0618EF28B9}"/>
          </ac:picMkLst>
        </pc:picChg>
        <pc:picChg chg="add mod or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78" creationId="{CFD8E93B-08E8-452A-9EF9-AAF7EED675A6}"/>
          </ac:picMkLst>
        </pc:picChg>
        <pc:picChg chg="add mo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79" creationId="{3FEE796D-A2E1-4738-AD9D-57598614E0A4}"/>
          </ac:picMkLst>
        </pc:picChg>
        <pc:picChg chg="add mo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80" creationId="{7828D5AD-FE52-4D17-9FFF-A46E39754253}"/>
          </ac:picMkLst>
        </pc:picChg>
        <pc:picChg chg="add mo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81" creationId="{08D9660D-95AE-4EA3-99AF-2069BB7F32F1}"/>
          </ac:picMkLst>
        </pc:picChg>
        <pc:picChg chg="add mod">
          <ac:chgData name="Travis Nesse" userId="7f5cd6f3-7534-4332-8f38-a3b44d62a5a5" providerId="ADAL" clId="{A3AE8565-04A3-49A0-A007-9904EF2B0DA2}" dt="2020-06-26T19:11:10.961" v="484" actId="164"/>
          <ac:picMkLst>
            <pc:docMk/>
            <pc:sldMk cId="2528275185" sldId="301"/>
            <ac:picMk id="82" creationId="{54146BEC-D55C-4AAC-A218-1219FF7F8770}"/>
          </ac:picMkLst>
        </pc:picChg>
        <pc:picChg chg="add del">
          <ac:chgData name="Travis Nesse" userId="7f5cd6f3-7534-4332-8f38-a3b44d62a5a5" providerId="ADAL" clId="{A3AE8565-04A3-49A0-A007-9904EF2B0DA2}" dt="2020-06-26T19:04:48.424" v="352" actId="338"/>
          <ac:picMkLst>
            <pc:docMk/>
            <pc:sldMk cId="2528275185" sldId="301"/>
            <ac:picMk id="83" creationId="{025F70AD-D951-40A1-BDA0-8314675522A1}"/>
          </ac:picMkLst>
        </pc:picChg>
        <pc:picChg chg="add mod">
          <ac:chgData name="Travis Nesse" userId="7f5cd6f3-7534-4332-8f38-a3b44d62a5a5" providerId="ADAL" clId="{A3AE8565-04A3-49A0-A007-9904EF2B0DA2}" dt="2020-06-26T19:11:53.644" v="511" actId="1076"/>
          <ac:picMkLst>
            <pc:docMk/>
            <pc:sldMk cId="2528275185" sldId="301"/>
            <ac:picMk id="85" creationId="{2182BC43-4ED8-4095-85B2-02266F61C1E0}"/>
          </ac:picMkLst>
        </pc:picChg>
        <pc:picChg chg="add mod">
          <ac:chgData name="Travis Nesse" userId="7f5cd6f3-7534-4332-8f38-a3b44d62a5a5" providerId="ADAL" clId="{A3AE8565-04A3-49A0-A007-9904EF2B0DA2}" dt="2020-06-26T19:14:14.065" v="560" actId="1036"/>
          <ac:picMkLst>
            <pc:docMk/>
            <pc:sldMk cId="2528275185" sldId="301"/>
            <ac:picMk id="86" creationId="{CA796A33-7402-4FCB-BA80-140D4ED22F45}"/>
          </ac:picMkLst>
        </pc:picChg>
        <pc:picChg chg="add mod">
          <ac:chgData name="Travis Nesse" userId="7f5cd6f3-7534-4332-8f38-a3b44d62a5a5" providerId="ADAL" clId="{A3AE8565-04A3-49A0-A007-9904EF2B0DA2}" dt="2020-06-26T19:14:14.065" v="560" actId="1036"/>
          <ac:picMkLst>
            <pc:docMk/>
            <pc:sldMk cId="2528275185" sldId="301"/>
            <ac:picMk id="87" creationId="{5D52F27C-C778-404E-8309-F9A3F08A096F}"/>
          </ac:picMkLst>
        </pc:picChg>
        <pc:picChg chg="add mod ord">
          <ac:chgData name="Travis Nesse" userId="7f5cd6f3-7534-4332-8f38-a3b44d62a5a5" providerId="ADAL" clId="{A3AE8565-04A3-49A0-A007-9904EF2B0DA2}" dt="2020-06-26T19:17:07.556" v="605" actId="167"/>
          <ac:picMkLst>
            <pc:docMk/>
            <pc:sldMk cId="2528275185" sldId="301"/>
            <ac:picMk id="88" creationId="{0312CBD0-0A55-4943-8F67-D55D0FD95611}"/>
          </ac:picMkLst>
        </pc:picChg>
      </pc:sldChg>
    </pc:docChg>
  </pc:docChgLst>
  <pc:docChgLst>
    <pc:chgData name="Vera Pashkevich" userId="S::vera@audienz.com::237c24e3-1396-4d13-92f5-b4b4c65d57d4" providerId="AD" clId="Web-{FB98FFD6-AF5F-A84F-C100-63B0D7BAD9B2}"/>
    <pc:docChg chg="modSld">
      <pc:chgData name="Vera Pashkevich" userId="S::vera@audienz.com::237c24e3-1396-4d13-92f5-b4b4c65d57d4" providerId="AD" clId="Web-{FB98FFD6-AF5F-A84F-C100-63B0D7BAD9B2}" dt="2020-07-29T23:18:00.799" v="31" actId="20577"/>
      <pc:docMkLst>
        <pc:docMk/>
      </pc:docMkLst>
      <pc:sldChg chg="modSp">
        <pc:chgData name="Vera Pashkevich" userId="S::vera@audienz.com::237c24e3-1396-4d13-92f5-b4b4c65d57d4" providerId="AD" clId="Web-{FB98FFD6-AF5F-A84F-C100-63B0D7BAD9B2}" dt="2020-07-29T23:18:00.799" v="30" actId="20577"/>
        <pc:sldMkLst>
          <pc:docMk/>
          <pc:sldMk cId="2528275185" sldId="301"/>
        </pc:sldMkLst>
        <pc:spChg chg="mod">
          <ac:chgData name="Vera Pashkevich" userId="S::vera@audienz.com::237c24e3-1396-4d13-92f5-b4b4c65d57d4" providerId="AD" clId="Web-{FB98FFD6-AF5F-A84F-C100-63B0D7BAD9B2}" dt="2020-07-29T23:17:58.783" v="3" actId="20577"/>
          <ac:spMkLst>
            <pc:docMk/>
            <pc:sldMk cId="2528275185" sldId="301"/>
            <ac:spMk id="5" creationId="{C367DF96-4160-4EFC-8EF2-6ED4577D5A61}"/>
          </ac:spMkLst>
        </pc:spChg>
        <pc:spChg chg="mod">
          <ac:chgData name="Vera Pashkevich" userId="S::vera@audienz.com::237c24e3-1396-4d13-92f5-b4b4c65d57d4" providerId="AD" clId="Web-{FB98FFD6-AF5F-A84F-C100-63B0D7BAD9B2}" dt="2020-07-29T23:17:58.892" v="9" actId="20577"/>
          <ac:spMkLst>
            <pc:docMk/>
            <pc:sldMk cId="2528275185" sldId="301"/>
            <ac:spMk id="7" creationId="{6773E575-9431-4590-B8D7-46AA60E5B541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205" v="11" actId="20577"/>
          <ac:spMkLst>
            <pc:docMk/>
            <pc:sldMk cId="2528275185" sldId="301"/>
            <ac:spMk id="10" creationId="{89D6841B-6624-44C9-BCB1-7CEEA234D1AB}"/>
          </ac:spMkLst>
        </pc:spChg>
        <pc:spChg chg="mod">
          <ac:chgData name="Vera Pashkevich" userId="S::vera@audienz.com::237c24e3-1396-4d13-92f5-b4b4c65d57d4" providerId="AD" clId="Web-{FB98FFD6-AF5F-A84F-C100-63B0D7BAD9B2}" dt="2020-07-29T23:18:00.658" v="29" actId="20577"/>
          <ac:spMkLst>
            <pc:docMk/>
            <pc:sldMk cId="2528275185" sldId="301"/>
            <ac:spMk id="23" creationId="{A270816A-46A0-4FE0-8D85-3930ED121F73}"/>
          </ac:spMkLst>
        </pc:spChg>
        <pc:spChg chg="mod">
          <ac:chgData name="Vera Pashkevich" userId="S::vera@audienz.com::237c24e3-1396-4d13-92f5-b4b4c65d57d4" providerId="AD" clId="Web-{FB98FFD6-AF5F-A84F-C100-63B0D7BAD9B2}" dt="2020-07-29T23:17:58.720" v="0" actId="20577"/>
          <ac:spMkLst>
            <pc:docMk/>
            <pc:sldMk cId="2528275185" sldId="301"/>
            <ac:spMk id="38" creationId="{2D77133A-EFCB-42BD-81EF-7BB805D163A2}"/>
          </ac:spMkLst>
        </pc:spChg>
        <pc:spChg chg="mod">
          <ac:chgData name="Vera Pashkevich" userId="S::vera@audienz.com::237c24e3-1396-4d13-92f5-b4b4c65d57d4" providerId="AD" clId="Web-{FB98FFD6-AF5F-A84F-C100-63B0D7BAD9B2}" dt="2020-07-29T23:17:58.752" v="1" actId="20577"/>
          <ac:spMkLst>
            <pc:docMk/>
            <pc:sldMk cId="2528275185" sldId="301"/>
            <ac:spMk id="39" creationId="{5A227718-FD9C-440E-BA32-3C2AE7D4DF5F}"/>
          </ac:spMkLst>
        </pc:spChg>
        <pc:spChg chg="mod">
          <ac:chgData name="Vera Pashkevich" userId="S::vera@audienz.com::237c24e3-1396-4d13-92f5-b4b4c65d57d4" providerId="AD" clId="Web-{FB98FFD6-AF5F-A84F-C100-63B0D7BAD9B2}" dt="2020-07-29T23:17:58.814" v="5" actId="20577"/>
          <ac:spMkLst>
            <pc:docMk/>
            <pc:sldMk cId="2528275185" sldId="301"/>
            <ac:spMk id="57" creationId="{1BAD62F6-7B7C-4572-B1AE-BCDC2C17C4CF}"/>
          </ac:spMkLst>
        </pc:spChg>
        <pc:spChg chg="mod">
          <ac:chgData name="Vera Pashkevich" userId="S::vera@audienz.com::237c24e3-1396-4d13-92f5-b4b4c65d57d4" providerId="AD" clId="Web-{FB98FFD6-AF5F-A84F-C100-63B0D7BAD9B2}" dt="2020-07-29T23:17:58.861" v="7" actId="20577"/>
          <ac:spMkLst>
            <pc:docMk/>
            <pc:sldMk cId="2528275185" sldId="301"/>
            <ac:spMk id="65" creationId="{1FADE094-8124-4BEF-8D0A-D0474EA45223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049" v="10" actId="20577"/>
          <ac:spMkLst>
            <pc:docMk/>
            <pc:sldMk cId="2528275185" sldId="301"/>
            <ac:spMk id="69" creationId="{91E4AE51-9413-4A45-AE42-87EBB979875A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361" v="13" actId="20577"/>
          <ac:spMkLst>
            <pc:docMk/>
            <pc:sldMk cId="2528275185" sldId="301"/>
            <ac:spMk id="70" creationId="{370676B1-B4D7-498C-AE94-D2CB4AD8A486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533" v="15" actId="20577"/>
          <ac:spMkLst>
            <pc:docMk/>
            <pc:sldMk cId="2528275185" sldId="301"/>
            <ac:spMk id="71" creationId="{871B7C61-1779-487F-BBAB-A08C43ABC08B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689" v="17" actId="20577"/>
          <ac:spMkLst>
            <pc:docMk/>
            <pc:sldMk cId="2528275185" sldId="301"/>
            <ac:spMk id="72" creationId="{079D709B-C43F-4A70-A57C-2B2AA0512F0B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830" v="19" actId="20577"/>
          <ac:spMkLst>
            <pc:docMk/>
            <pc:sldMk cId="2528275185" sldId="301"/>
            <ac:spMk id="73" creationId="{8E784E32-225F-4611-BC5B-092A462F6329}"/>
          </ac:spMkLst>
        </pc:spChg>
        <pc:spChg chg="mod">
          <ac:chgData name="Vera Pashkevich" userId="S::vera@audienz.com::237c24e3-1396-4d13-92f5-b4b4c65d57d4" providerId="AD" clId="Web-{FB98FFD6-AF5F-A84F-C100-63B0D7BAD9B2}" dt="2020-07-29T23:17:59.986" v="21" actId="20577"/>
          <ac:spMkLst>
            <pc:docMk/>
            <pc:sldMk cId="2528275185" sldId="301"/>
            <ac:spMk id="74" creationId="{6D240F0C-25D3-47BE-9E11-78373425A297}"/>
          </ac:spMkLst>
        </pc:spChg>
        <pc:spChg chg="mod">
          <ac:chgData name="Vera Pashkevich" userId="S::vera@audienz.com::237c24e3-1396-4d13-92f5-b4b4c65d57d4" providerId="AD" clId="Web-{FB98FFD6-AF5F-A84F-C100-63B0D7BAD9B2}" dt="2020-07-29T23:18:00.142" v="23" actId="20577"/>
          <ac:spMkLst>
            <pc:docMk/>
            <pc:sldMk cId="2528275185" sldId="301"/>
            <ac:spMk id="75" creationId="{0A73F81F-1F78-4CB6-9DD5-EDC018B169A5}"/>
          </ac:spMkLst>
        </pc:spChg>
        <pc:spChg chg="mod">
          <ac:chgData name="Vera Pashkevich" userId="S::vera@audienz.com::237c24e3-1396-4d13-92f5-b4b4c65d57d4" providerId="AD" clId="Web-{FB98FFD6-AF5F-A84F-C100-63B0D7BAD9B2}" dt="2020-07-29T23:18:00.299" v="25" actId="20577"/>
          <ac:spMkLst>
            <pc:docMk/>
            <pc:sldMk cId="2528275185" sldId="301"/>
            <ac:spMk id="76" creationId="{98401D17-5B93-48EB-A003-49811FCDFCDF}"/>
          </ac:spMkLst>
        </pc:spChg>
        <pc:spChg chg="mod">
          <ac:chgData name="Vera Pashkevich" userId="S::vera@audienz.com::237c24e3-1396-4d13-92f5-b4b4c65d57d4" providerId="AD" clId="Web-{FB98FFD6-AF5F-A84F-C100-63B0D7BAD9B2}" dt="2020-07-29T23:18:00.486" v="27" actId="20577"/>
          <ac:spMkLst>
            <pc:docMk/>
            <pc:sldMk cId="2528275185" sldId="301"/>
            <ac:spMk id="77" creationId="{44D00D4C-6460-4F5A-8632-87EC9EAB470D}"/>
          </ac:spMkLst>
        </pc:spChg>
        <pc:spChg chg="mod">
          <ac:chgData name="Vera Pashkevich" userId="S::vera@audienz.com::237c24e3-1396-4d13-92f5-b4b4c65d57d4" providerId="AD" clId="Web-{FB98FFD6-AF5F-A84F-C100-63B0D7BAD9B2}" dt="2020-07-29T23:18:00.799" v="30" actId="20577"/>
          <ac:spMkLst>
            <pc:docMk/>
            <pc:sldMk cId="2528275185" sldId="301"/>
            <ac:spMk id="84" creationId="{6AB9D03D-0661-4EA8-AD06-ABFEFB7D38FC}"/>
          </ac:spMkLst>
        </pc:spChg>
      </pc:sldChg>
    </pc:docChg>
  </pc:docChgLst>
  <pc:docChgLst>
    <pc:chgData name="Quincy Kosena" userId="34552e9c-390f-40b5-8a42-f626db2682ad" providerId="ADAL" clId="{95F7AA64-3D7C-3C4B-B2DF-93FDFA52F32E}"/>
    <pc:docChg chg="undo redo custSel modSld">
      <pc:chgData name="Quincy Kosena" userId="34552e9c-390f-40b5-8a42-f626db2682ad" providerId="ADAL" clId="{95F7AA64-3D7C-3C4B-B2DF-93FDFA52F32E}" dt="2020-06-29T18:26:18.255" v="35" actId="478"/>
      <pc:docMkLst>
        <pc:docMk/>
      </pc:docMkLst>
      <pc:sldChg chg="addSp delSp modSp">
        <pc:chgData name="Quincy Kosena" userId="34552e9c-390f-40b5-8a42-f626db2682ad" providerId="ADAL" clId="{95F7AA64-3D7C-3C4B-B2DF-93FDFA52F32E}" dt="2020-06-29T18:26:18.255" v="35" actId="478"/>
        <pc:sldMkLst>
          <pc:docMk/>
          <pc:sldMk cId="2528275185" sldId="301"/>
        </pc:sldMkLst>
        <pc:picChg chg="mod">
          <ac:chgData name="Quincy Kosena" userId="34552e9c-390f-40b5-8a42-f626db2682ad" providerId="ADAL" clId="{95F7AA64-3D7C-3C4B-B2DF-93FDFA52F32E}" dt="2020-06-29T18:26:14.088" v="34" actId="1036"/>
          <ac:picMkLst>
            <pc:docMk/>
            <pc:sldMk cId="2528275185" sldId="301"/>
            <ac:picMk id="64" creationId="{7009AEA8-F197-40BA-B99B-E91D76AE51BE}"/>
          </ac:picMkLst>
        </pc:picChg>
        <pc:picChg chg="mod">
          <ac:chgData name="Quincy Kosena" userId="34552e9c-390f-40b5-8a42-f626db2682ad" providerId="ADAL" clId="{95F7AA64-3D7C-3C4B-B2DF-93FDFA52F32E}" dt="2020-06-29T18:07:27.444" v="9" actId="14100"/>
          <ac:picMkLst>
            <pc:docMk/>
            <pc:sldMk cId="2528275185" sldId="301"/>
            <ac:picMk id="66" creationId="{22157ADB-C3DA-4800-8C60-BE7E7B4F2DD3}"/>
          </ac:picMkLst>
        </pc:picChg>
        <pc:cxnChg chg="add del mod">
          <ac:chgData name="Quincy Kosena" userId="34552e9c-390f-40b5-8a42-f626db2682ad" providerId="ADAL" clId="{95F7AA64-3D7C-3C4B-B2DF-93FDFA52F32E}" dt="2020-06-29T18:08:09.323" v="20" actId="478"/>
          <ac:cxnSpMkLst>
            <pc:docMk/>
            <pc:sldMk cId="2528275185" sldId="301"/>
            <ac:cxnSpMk id="3" creationId="{56547F08-6EF8-E949-AAA2-0616BBD82A9C}"/>
          </ac:cxnSpMkLst>
        </pc:cxnChg>
        <pc:cxnChg chg="add del mod">
          <ac:chgData name="Quincy Kosena" userId="34552e9c-390f-40b5-8a42-f626db2682ad" providerId="ADAL" clId="{95F7AA64-3D7C-3C4B-B2DF-93FDFA52F32E}" dt="2020-06-29T18:26:18.255" v="35" actId="478"/>
          <ac:cxnSpMkLst>
            <pc:docMk/>
            <pc:sldMk cId="2528275185" sldId="301"/>
            <ac:cxnSpMk id="8" creationId="{B2E0D10A-0E59-B04E-B3CB-220C86D53AAF}"/>
          </ac:cxnSpMkLst>
        </pc:cxnChg>
      </pc:sldChg>
    </pc:docChg>
  </pc:docChgLst>
  <pc:docChgLst>
    <pc:chgData name="Mary Lisa Newman" userId="9c8cba21-67a1-4aa9-98ba-c4ca1eda0aa0" providerId="ADAL" clId="{8A1C6D58-1299-41F0-8DA3-B645ED180209}"/>
    <pc:docChg chg="modSld">
      <pc:chgData name="Mary Lisa Newman" userId="9c8cba21-67a1-4aa9-98ba-c4ca1eda0aa0" providerId="ADAL" clId="{8A1C6D58-1299-41F0-8DA3-B645ED180209}" dt="2020-07-01T23:42:44.478" v="13" actId="13926"/>
      <pc:docMkLst>
        <pc:docMk/>
      </pc:docMkLst>
      <pc:sldChg chg="modSp">
        <pc:chgData name="Mary Lisa Newman" userId="9c8cba21-67a1-4aa9-98ba-c4ca1eda0aa0" providerId="ADAL" clId="{8A1C6D58-1299-41F0-8DA3-B645ED180209}" dt="2020-07-01T23:42:44.478" v="13" actId="13926"/>
        <pc:sldMkLst>
          <pc:docMk/>
          <pc:sldMk cId="2528275185" sldId="301"/>
        </pc:sldMkLst>
        <pc:spChg chg="mod">
          <ac:chgData name="Mary Lisa Newman" userId="9c8cba21-67a1-4aa9-98ba-c4ca1eda0aa0" providerId="ADAL" clId="{8A1C6D58-1299-41F0-8DA3-B645ED180209}" dt="2020-07-01T23:41:51.880" v="0" actId="13926"/>
          <ac:spMkLst>
            <pc:docMk/>
            <pc:sldMk cId="2528275185" sldId="301"/>
            <ac:spMk id="39" creationId="{5A227718-FD9C-440E-BA32-3C2AE7D4DF5F}"/>
          </ac:spMkLst>
        </pc:spChg>
        <pc:spChg chg="mod">
          <ac:chgData name="Mary Lisa Newman" userId="9c8cba21-67a1-4aa9-98ba-c4ca1eda0aa0" providerId="ADAL" clId="{8A1C6D58-1299-41F0-8DA3-B645ED180209}" dt="2020-07-01T23:42:44.478" v="13" actId="13926"/>
          <ac:spMkLst>
            <pc:docMk/>
            <pc:sldMk cId="2528275185" sldId="301"/>
            <ac:spMk id="57" creationId="{1BAD62F6-7B7C-4572-B1AE-BCDC2C17C4CF}"/>
          </ac:spMkLst>
        </pc:spChg>
        <pc:spChg chg="mod">
          <ac:chgData name="Mary Lisa Newman" userId="9c8cba21-67a1-4aa9-98ba-c4ca1eda0aa0" providerId="ADAL" clId="{8A1C6D58-1299-41F0-8DA3-B645ED180209}" dt="2020-07-01T23:42:29.478" v="9" actId="13926"/>
          <ac:spMkLst>
            <pc:docMk/>
            <pc:sldMk cId="2528275185" sldId="301"/>
            <ac:spMk id="65" creationId="{1FADE094-8124-4BEF-8D0A-D0474EA45223}"/>
          </ac:spMkLst>
        </pc:spChg>
        <pc:spChg chg="mod">
          <ac:chgData name="Mary Lisa Newman" userId="9c8cba21-67a1-4aa9-98ba-c4ca1eda0aa0" providerId="ADAL" clId="{8A1C6D58-1299-41F0-8DA3-B645ED180209}" dt="2020-07-01T23:42:01.510" v="2" actId="13926"/>
          <ac:spMkLst>
            <pc:docMk/>
            <pc:sldMk cId="2528275185" sldId="301"/>
            <ac:spMk id="75" creationId="{0A73F81F-1F78-4CB6-9DD5-EDC018B169A5}"/>
          </ac:spMkLst>
        </pc:spChg>
        <pc:spChg chg="mod">
          <ac:chgData name="Mary Lisa Newman" userId="9c8cba21-67a1-4aa9-98ba-c4ca1eda0aa0" providerId="ADAL" clId="{8A1C6D58-1299-41F0-8DA3-B645ED180209}" dt="2020-07-01T23:42:11.045" v="4" actId="13926"/>
          <ac:spMkLst>
            <pc:docMk/>
            <pc:sldMk cId="2528275185" sldId="301"/>
            <ac:spMk id="77" creationId="{44D00D4C-6460-4F5A-8632-87EC9EAB470D}"/>
          </ac:spMkLst>
        </pc:spChg>
        <pc:spChg chg="mod">
          <ac:chgData name="Mary Lisa Newman" userId="9c8cba21-67a1-4aa9-98ba-c4ca1eda0aa0" providerId="ADAL" clId="{8A1C6D58-1299-41F0-8DA3-B645ED180209}" dt="2020-07-01T23:41:56.865" v="1" actId="13926"/>
          <ac:spMkLst>
            <pc:docMk/>
            <pc:sldMk cId="2528275185" sldId="301"/>
            <ac:spMk id="84" creationId="{6AB9D03D-0661-4EA8-AD06-ABFEFB7D38F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55F37-7DDC-6140-9FF6-A980F3E2147B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52923B-E6FB-6444-954F-272993D276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72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E81C1-76EA-4EF4-ACA2-61548F7B8B75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13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73575"/>
            <a:ext cx="548640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C602C3-C79E-43EB-A789-D085B69768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82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84354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6FF6BE-A181-46A5-AA67-BD7BF89EF264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8455" tIns="126764" rIns="158455" bIns="1267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079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32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60CFFB-C290-46FF-A57C-C1A4AB7599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47142" y="223839"/>
            <a:ext cx="1519072" cy="6810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FC99979-50E5-445F-B922-79C4CA21C07D}"/>
              </a:ext>
            </a:extLst>
          </p:cNvPr>
          <p:cNvSpPr/>
          <p:nvPr userDrawn="1"/>
        </p:nvSpPr>
        <p:spPr bwMode="auto">
          <a:xfrm>
            <a:off x="274567" y="296863"/>
            <a:ext cx="1519072" cy="608012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9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6514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3795" y="3012500"/>
            <a:ext cx="6858623" cy="833001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841C73-85C4-485F-8F62-4B766EFE9A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9956" y="223839"/>
            <a:ext cx="1519072" cy="6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7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>
    <p:fade/>
  </p:transition>
  <p:hf sldNum="0" hdr="0" ftr="0" dt="0"/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359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2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3987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7973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1959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5945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40">
          <p15:clr>
            <a:srgbClr val="C35EA4"/>
          </p15:clr>
        </p15:guide>
        <p15:guide id="17" pos="744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91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emf"/><Relationship Id="rId18" Type="http://schemas.openxmlformats.org/officeDocument/2006/relationships/image" Target="../media/image15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12" Type="http://schemas.openxmlformats.org/officeDocument/2006/relationships/image" Target="../media/image9.emf"/><Relationship Id="rId17" Type="http://schemas.openxmlformats.org/officeDocument/2006/relationships/image" Target="../media/image14.png"/><Relationship Id="rId2" Type="http://schemas.openxmlformats.org/officeDocument/2006/relationships/tags" Target="../tags/tag2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svg"/><Relationship Id="rId5" Type="http://schemas.openxmlformats.org/officeDocument/2006/relationships/image" Target="../media/image4.png"/><Relationship Id="rId15" Type="http://schemas.openxmlformats.org/officeDocument/2006/relationships/image" Target="../media/image12.emf"/><Relationship Id="rId10" Type="http://schemas.openxmlformats.org/officeDocument/2006/relationships/image" Target="../media/image7.png"/><Relationship Id="rId19" Type="http://schemas.openxmlformats.org/officeDocument/2006/relationships/image" Target="../media/image16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2D77133A-EFCB-42BD-81EF-7BB805D163A2}"/>
              </a:ext>
            </a:extLst>
          </p:cNvPr>
          <p:cNvSpPr/>
          <p:nvPr/>
        </p:nvSpPr>
        <p:spPr bwMode="auto">
          <a:xfrm>
            <a:off x="0" y="-21839"/>
            <a:ext cx="12192000" cy="290353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8" name="Picture 8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12CBD0-0A55-4943-8F67-D55D0FD956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5415"/>
          <a:stretch/>
        </p:blipFill>
        <p:spPr>
          <a:xfrm>
            <a:off x="0" y="-6020"/>
            <a:ext cx="2110838" cy="108102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5A227718-FD9C-440E-BA32-3C2AE7D4DF5F}"/>
              </a:ext>
            </a:extLst>
          </p:cNvPr>
          <p:cNvSpPr/>
          <p:nvPr/>
        </p:nvSpPr>
        <p:spPr>
          <a:xfrm>
            <a:off x="334030" y="885034"/>
            <a:ext cx="10996121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l" rtl="0"/>
            <a:r>
              <a:rPr lang="fr-fr" sz="3200" b="0" i="0" u="none" baseline="0" dirty="0">
                <a:solidFill>
                  <a:schemeClr val="accent3"/>
                </a:solidFill>
                <a:latin typeface="+mj-lt"/>
              </a:rPr>
              <a:t>Azure Sentinel : </a:t>
            </a:r>
            <a:r>
              <a:rPr lang="fr-fr" sz="3200" b="0" i="0" u="none" baseline="0" dirty="0">
                <a:solidFill>
                  <a:schemeClr val="bg1"/>
                </a:solidFill>
                <a:latin typeface="+mj-lt"/>
              </a:rPr>
              <a:t>La vigilance à vos côtés</a:t>
            </a:r>
            <a:r>
              <a:rPr lang="fr-fr" sz="3600" b="0" i="0" u="none" baseline="0" dirty="0">
                <a:solidFill>
                  <a:schemeClr val="accent1"/>
                </a:solidFill>
                <a:latin typeface="+mj-lt"/>
              </a:rPr>
              <a:t> </a:t>
            </a:r>
            <a:endParaRPr lang="fr-fr" sz="3600" b="0" i="0" u="none" baseline="0" dirty="0">
              <a:solidFill>
                <a:schemeClr val="accent1"/>
              </a:solidFill>
              <a:latin typeface="+mj-lt"/>
              <a:cs typeface="Segoe UI Semi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67DF96-4160-4EFC-8EF2-6ED4577D5A61}"/>
              </a:ext>
            </a:extLst>
          </p:cNvPr>
          <p:cNvSpPr/>
          <p:nvPr/>
        </p:nvSpPr>
        <p:spPr>
          <a:xfrm>
            <a:off x="238236" y="1473363"/>
            <a:ext cx="9100777" cy="41549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l" rtl="0"/>
            <a:r>
              <a:rPr lang="fr-fr" sz="2100" b="0" i="0" u="none" baseline="0" dirty="0">
                <a:solidFill>
                  <a:schemeClr val="bg1"/>
                </a:solidFill>
              </a:rPr>
              <a:t>Des analyses de sécurité intelligentes pour l</a:t>
            </a:r>
            <a:r>
              <a:rPr lang="fr-FR" sz="2100" b="0" i="0" u="none" baseline="0" dirty="0">
                <a:solidFill>
                  <a:schemeClr val="bg1"/>
                </a:solidFill>
              </a:rPr>
              <a:t>’</a:t>
            </a:r>
            <a:r>
              <a:rPr lang="fr-fr" sz="2100" b="0" i="0" u="none" baseline="0" dirty="0">
                <a:solidFill>
                  <a:schemeClr val="bg1"/>
                </a:solidFill>
              </a:rPr>
              <a:t>ensemble de votre entreprise.</a:t>
            </a:r>
            <a:endParaRPr lang="fr-fr" sz="2100" b="0" i="0" u="none" baseline="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57" name="Rectangle 5">
            <a:extLst>
              <a:ext uri="{FF2B5EF4-FFF2-40B4-BE49-F238E27FC236}">
                <a16:creationId xmlns:a16="http://schemas.microsoft.com/office/drawing/2014/main" id="{1BAD62F6-7B7C-4572-B1AE-BCDC2C17C4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9041" y="3657641"/>
            <a:ext cx="2949400" cy="218521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b="0" i="0" u="none" baseline="0" dirty="0"/>
              <a:t>« Azure Sentinel fournit un SIEM proactif et réactif natif du cloud qui permettra aux clients de simplifier leurs opérations de sécurité et d</a:t>
            </a:r>
            <a:r>
              <a:rPr lang="fr-FR" sz="1400" b="0" i="0" u="none" baseline="0" dirty="0"/>
              <a:t>’</a:t>
            </a:r>
            <a:r>
              <a:rPr lang="fr-fr" sz="1400" b="0" i="0" u="none" baseline="0" dirty="0"/>
              <a:t>évoluer à mesure qu</a:t>
            </a:r>
            <a:r>
              <a:rPr lang="fr-FR" sz="1400" b="0" i="0" u="none" baseline="0" dirty="0"/>
              <a:t>’</a:t>
            </a:r>
            <a:r>
              <a:rPr lang="fr-fr" sz="1400" b="0" i="0" u="none" baseline="0" dirty="0"/>
              <a:t>ils se développent. »</a:t>
            </a:r>
            <a:endParaRPr lang="fr-fr" sz="1400" b="0" i="0" u="none" baseline="0" dirty="0">
              <a:cs typeface="Segoe UI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altLang="en-US" sz="1000" b="1" i="0" u="none" strike="noStrike" cap="none" normalizeH="0" baseline="0" dirty="0">
              <a:ln>
                <a:noFill/>
              </a:ln>
              <a:solidFill>
                <a:srgbClr val="4C4C5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050" b="0" i="0" u="none" baseline="0" dirty="0">
                <a:latin typeface="+mj-lt"/>
              </a:rPr>
              <a:t>Richard </a:t>
            </a:r>
            <a:r>
              <a:rPr lang="fr-fr" sz="1050" b="0" i="0" u="none" baseline="0" dirty="0" err="1">
                <a:latin typeface="+mj-lt"/>
              </a:rPr>
              <a:t>Diver</a:t>
            </a:r>
            <a:br>
              <a:rPr lang="fr-fr" sz="1000" b="1" i="0" u="none" strike="noStrike" cap="none" normalizeH="0" baseline="0" dirty="0">
                <a:ln>
                  <a:noFill/>
                </a:ln>
                <a:effectLst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fr-fr" sz="1050" b="0" i="0" u="none" baseline="0" dirty="0"/>
              <a:t>Architecte de la sécurité dans le cloud, Transformation dans le cloud et de centre </a:t>
            </a:r>
            <a:br>
              <a:rPr lang="fr-fr" sz="1050" b="0" i="0" u="none" baseline="0" dirty="0"/>
            </a:br>
            <a:r>
              <a:rPr lang="fr-fr" sz="1050" b="0" i="0" u="none" baseline="0" dirty="0"/>
              <a:t>de données, Insight </a:t>
            </a:r>
            <a:r>
              <a:rPr lang="fr-fr" sz="1050" b="0" i="0" u="none" baseline="0" dirty="0" err="1"/>
              <a:t>Enterprises</a:t>
            </a:r>
            <a:r>
              <a:rPr lang="fr-fr" sz="1050" b="0" i="0" u="none" baseline="0" dirty="0"/>
              <a:t>, Inc.</a:t>
            </a:r>
            <a:r>
              <a:rPr lang="fr-fr" sz="1050" dirty="0"/>
              <a:t> </a:t>
            </a:r>
            <a:endParaRPr lang="fr-fr" sz="1050" b="0" i="0" u="none" baseline="0" dirty="0">
              <a:cs typeface="Segoe UI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7009AEA8-F197-40BA-B99B-E91D76AE51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69868" y="6073601"/>
            <a:ext cx="2209524" cy="571429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FADE094-8124-4BEF-8D0A-D0474EA45223}"/>
              </a:ext>
            </a:extLst>
          </p:cNvPr>
          <p:cNvSpPr/>
          <p:nvPr/>
        </p:nvSpPr>
        <p:spPr>
          <a:xfrm>
            <a:off x="5661727" y="3671538"/>
            <a:ext cx="3044997" cy="246221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fr-fr" sz="1400" b="0" i="0" u="none" baseline="0" dirty="0"/>
              <a:t>« Avec Microsoft Azure Sentinel, nous pouvons mieux répondre aux difficultés principales </a:t>
            </a:r>
            <a:r>
              <a:rPr lang="fr-FR" sz="1400" dirty="0"/>
              <a:t>de l’environnement </a:t>
            </a:r>
            <a:r>
              <a:rPr lang="fr-fr" sz="1400" b="0" i="0" u="none" baseline="0" dirty="0"/>
              <a:t>SIEM pour nos clients, tout en simplifiant la résidence des données et les préoccupations en matière </a:t>
            </a:r>
            <a:br>
              <a:rPr lang="fr-fr" sz="1400" b="0" i="0" u="none" baseline="0" dirty="0"/>
            </a:br>
            <a:r>
              <a:rPr lang="fr-fr" sz="1400" b="0" i="0" u="none" baseline="0" dirty="0"/>
              <a:t>de GDPR. »</a:t>
            </a:r>
            <a:endParaRPr lang="fr-fr" sz="1400" b="0" i="0" u="none" baseline="0" dirty="0">
              <a:cs typeface="Segoe UI"/>
            </a:endParaRPr>
          </a:p>
          <a:p>
            <a:pPr algn="ctr" rtl="0"/>
            <a:endParaRPr lang="fr-fr" sz="1050" dirty="0">
              <a:cs typeface="Segoe UI"/>
            </a:endParaRPr>
          </a:p>
          <a:p>
            <a:pPr algn="l" rtl="0"/>
            <a:r>
              <a:rPr lang="fr-fr" sz="1050" b="0" i="0" u="none" baseline="0" dirty="0">
                <a:latin typeface="+mj-lt"/>
              </a:rPr>
              <a:t>Andrew </a:t>
            </a:r>
            <a:r>
              <a:rPr lang="fr-fr" sz="1050" b="0" i="0" u="none" baseline="0" dirty="0" err="1">
                <a:latin typeface="+mj-lt"/>
              </a:rPr>
              <a:t>Winkelmann</a:t>
            </a:r>
            <a:br>
              <a:rPr lang="fr-fr" sz="1050" dirty="0">
                <a:latin typeface="+mj-lt"/>
              </a:rPr>
            </a:br>
            <a:r>
              <a:rPr lang="fr-fr" sz="1050" b="0" i="0" u="none" baseline="0" dirty="0"/>
              <a:t>Responsable mondial des conseils de sécurité, Accenture</a:t>
            </a:r>
            <a:endParaRPr lang="fr-fr" sz="1050" b="0" i="0" u="none" baseline="0" dirty="0">
              <a:cs typeface="Segoe UI"/>
            </a:endParaRPr>
          </a:p>
        </p:txBody>
      </p:sp>
      <p:pic>
        <p:nvPicPr>
          <p:cNvPr id="66" name="Picture 65" descr="A picture containing laptop, clock, sitting, computer&#10;&#10;Description automatically generated">
            <a:extLst>
              <a:ext uri="{FF2B5EF4-FFF2-40B4-BE49-F238E27FC236}">
                <a16:creationId xmlns:a16="http://schemas.microsoft.com/office/drawing/2014/main" id="{22157ADB-C3DA-4800-8C60-BE7E7B4F2D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3683" y="5964038"/>
            <a:ext cx="2051913" cy="548640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7E3829A4-1A99-4C69-83C3-ECF4E7A86282}"/>
              </a:ext>
            </a:extLst>
          </p:cNvPr>
          <p:cNvGrpSpPr/>
          <p:nvPr/>
        </p:nvGrpSpPr>
        <p:grpSpPr>
          <a:xfrm>
            <a:off x="517637" y="2233289"/>
            <a:ext cx="4215596" cy="4280502"/>
            <a:chOff x="621717" y="1916991"/>
            <a:chExt cx="4215596" cy="4280502"/>
          </a:xfrm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E73F814C-424E-4E71-B26A-9D1D9046D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726773" y="5765537"/>
              <a:ext cx="103589" cy="86881"/>
            </a:xfrm>
            <a:prstGeom prst="rect">
              <a:avLst/>
            </a:prstGeom>
            <a:effectLst/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743D760-680C-45A4-8AC5-76F5D4C02B83}"/>
                </a:ext>
              </a:extLst>
            </p:cNvPr>
            <p:cNvGrpSpPr/>
            <p:nvPr/>
          </p:nvGrpSpPr>
          <p:grpSpPr>
            <a:xfrm>
              <a:off x="663250" y="1916991"/>
              <a:ext cx="4174063" cy="4280502"/>
              <a:chOff x="5648536" y="1870879"/>
              <a:chExt cx="4174063" cy="4280502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6773E575-9431-4590-B8D7-46AA60E5B541}"/>
                  </a:ext>
                </a:extLst>
              </p:cNvPr>
              <p:cNvSpPr/>
              <p:nvPr/>
            </p:nvSpPr>
            <p:spPr bwMode="auto">
              <a:xfrm>
                <a:off x="5648536" y="1870879"/>
                <a:ext cx="4174063" cy="42805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fr-fr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1E4AE51-9413-4A45-AE42-87EBB979875A}"/>
                  </a:ext>
                </a:extLst>
              </p:cNvPr>
              <p:cNvSpPr/>
              <p:nvPr/>
            </p:nvSpPr>
            <p:spPr bwMode="auto">
              <a:xfrm>
                <a:off x="6860091" y="3113330"/>
                <a:ext cx="1750952" cy="1795601"/>
              </a:xfrm>
              <a:prstGeom prst="ellipse">
                <a:avLst/>
              </a:prstGeom>
              <a:solidFill>
                <a:srgbClr val="D9D9D9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fr-fr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D6841B-6624-44C9-BCB1-7CEEA234D1AB}"/>
                </a:ext>
              </a:extLst>
            </p:cNvPr>
            <p:cNvSpPr txBox="1"/>
            <p:nvPr/>
          </p:nvSpPr>
          <p:spPr>
            <a:xfrm>
              <a:off x="2130219" y="2447595"/>
              <a:ext cx="1365526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l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6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llecter</a:t>
              </a:r>
              <a:endPara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bold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70676B1-B4D7-498C-AE94-D2CB4AD8A486}"/>
                </a:ext>
              </a:extLst>
            </p:cNvPr>
            <p:cNvSpPr txBox="1"/>
            <p:nvPr/>
          </p:nvSpPr>
          <p:spPr>
            <a:xfrm>
              <a:off x="3618365" y="3783383"/>
              <a:ext cx="1214865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l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6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Détecter</a:t>
              </a:r>
              <a:endPara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bold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71B7C61-1779-487F-BBAB-A08C43ABC08B}"/>
                </a:ext>
              </a:extLst>
            </p:cNvPr>
            <p:cNvSpPr txBox="1"/>
            <p:nvPr/>
          </p:nvSpPr>
          <p:spPr>
            <a:xfrm>
              <a:off x="693835" y="3775057"/>
              <a:ext cx="1365526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l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6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épondre</a:t>
              </a:r>
              <a:endPara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bold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79D709B-C43F-4A70-A57C-2B2AA0512F0B}"/>
                </a:ext>
              </a:extLst>
            </p:cNvPr>
            <p:cNvSpPr txBox="1"/>
            <p:nvPr/>
          </p:nvSpPr>
          <p:spPr>
            <a:xfrm>
              <a:off x="2069648" y="5359230"/>
              <a:ext cx="1479842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l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6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xaminer</a:t>
              </a:r>
              <a:endPara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bold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E784E32-225F-4611-BC5B-092A462F6329}"/>
                </a:ext>
              </a:extLst>
            </p:cNvPr>
            <p:cNvSpPr txBox="1"/>
            <p:nvPr/>
          </p:nvSpPr>
          <p:spPr>
            <a:xfrm>
              <a:off x="621717" y="4065111"/>
              <a:ext cx="1365526" cy="75251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apidement et automatiser la protection</a:t>
              </a:r>
              <a:endParaRPr lang="fr-fr" sz="11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D240F0C-25D3-47BE-9E11-78373425A297}"/>
                </a:ext>
              </a:extLst>
            </p:cNvPr>
            <p:cNvSpPr txBox="1"/>
            <p:nvPr/>
          </p:nvSpPr>
          <p:spPr>
            <a:xfrm>
              <a:off x="3421021" y="4046024"/>
              <a:ext cx="1365526" cy="1057212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es menaces avec une vaste quantité de renseignements sur les menaces</a:t>
              </a:r>
              <a:endParaRPr lang="fr-fr" sz="11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A73F81F-1F78-4CB6-9DD5-EDC018B169A5}"/>
                </a:ext>
              </a:extLst>
            </p:cNvPr>
            <p:cNvSpPr txBox="1"/>
            <p:nvPr/>
          </p:nvSpPr>
          <p:spPr>
            <a:xfrm>
              <a:off x="1775454" y="5591671"/>
              <a:ext cx="1778208" cy="6001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es incidents critiques orientés par l</a:t>
              </a: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’</a:t>
              </a: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I</a:t>
              </a:r>
              <a:endParaRPr lang="fr-fr" sz="11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8401D17-5B93-48EB-A003-49811FCDFCDF}"/>
                </a:ext>
              </a:extLst>
            </p:cNvPr>
            <p:cNvSpPr txBox="1"/>
            <p:nvPr/>
          </p:nvSpPr>
          <p:spPr>
            <a:xfrm>
              <a:off x="1754945" y="2675737"/>
              <a:ext cx="2106407" cy="6001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1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es données de sécurité au sein de votre entreprise</a:t>
              </a:r>
              <a:endParaRPr lang="fr-fr" sz="11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4D00D4C-6460-4F5A-8632-87EC9EAB470D}"/>
                </a:ext>
              </a:extLst>
            </p:cNvPr>
            <p:cNvSpPr txBox="1"/>
            <p:nvPr/>
          </p:nvSpPr>
          <p:spPr>
            <a:xfrm>
              <a:off x="1834576" y="4359242"/>
              <a:ext cx="1814473" cy="7109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 rtl="0">
                <a:lnSpc>
                  <a:spcPct val="90000"/>
                </a:lnSpc>
                <a:spcAft>
                  <a:spcPts val="600"/>
                </a:spcAft>
              </a:pPr>
              <a:br>
                <a:rPr lang="fr-fr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fr-fr" sz="10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IEM + SOAR </a:t>
              </a:r>
              <a:br>
                <a:rPr lang="fr-fr" sz="10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fr-fr" sz="10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f du cloud</a:t>
              </a:r>
              <a:endParaRPr lang="fr-fr" sz="10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endParaRP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3FEE796D-A2E1-4738-AD9D-57598614E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50066" y="3442133"/>
              <a:ext cx="419603" cy="419603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7828D5AD-FE52-4D17-9FFF-A46E39754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68977" y="2063343"/>
              <a:ext cx="499086" cy="499086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08D9660D-95AE-4EA3-99AF-2069BB7F3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59926" y="3389180"/>
              <a:ext cx="490570" cy="490570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54146BEC-D55C-4AAC-A218-1219FF7F8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531498" y="5046689"/>
              <a:ext cx="424237" cy="424237"/>
            </a:xfrm>
            <a:prstGeom prst="rect">
              <a:avLst/>
            </a:prstGeom>
          </p:spPr>
        </p:pic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A270816A-46A0-4FE0-8D85-3930ED121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4317" y="3328795"/>
              <a:ext cx="1423677" cy="871066"/>
            </a:xfrm>
            <a:custGeom>
              <a:avLst/>
              <a:gdLst>
                <a:gd name="T0" fmla="*/ 985 w 1109"/>
                <a:gd name="T1" fmla="*/ 426 h 682"/>
                <a:gd name="T2" fmla="*/ 982 w 1109"/>
                <a:gd name="T3" fmla="*/ 426 h 682"/>
                <a:gd name="T4" fmla="*/ 999 w 1109"/>
                <a:gd name="T5" fmla="*/ 341 h 682"/>
                <a:gd name="T6" fmla="*/ 777 w 1109"/>
                <a:gd name="T7" fmla="*/ 113 h 682"/>
                <a:gd name="T8" fmla="*/ 703 w 1109"/>
                <a:gd name="T9" fmla="*/ 127 h 682"/>
                <a:gd name="T10" fmla="*/ 444 w 1109"/>
                <a:gd name="T11" fmla="*/ 0 h 682"/>
                <a:gd name="T12" fmla="*/ 111 w 1109"/>
                <a:gd name="T13" fmla="*/ 341 h 682"/>
                <a:gd name="T14" fmla="*/ 122 w 1109"/>
                <a:gd name="T15" fmla="*/ 426 h 682"/>
                <a:gd name="T16" fmla="*/ 0 w 1109"/>
                <a:gd name="T17" fmla="*/ 554 h 682"/>
                <a:gd name="T18" fmla="*/ 125 w 1109"/>
                <a:gd name="T19" fmla="*/ 682 h 682"/>
                <a:gd name="T20" fmla="*/ 985 w 1109"/>
                <a:gd name="T21" fmla="*/ 682 h 682"/>
                <a:gd name="T22" fmla="*/ 1109 w 1109"/>
                <a:gd name="T23" fmla="*/ 554 h 682"/>
                <a:gd name="T24" fmla="*/ 985 w 1109"/>
                <a:gd name="T25" fmla="*/ 426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9" h="682">
                  <a:moveTo>
                    <a:pt x="985" y="426"/>
                  </a:moveTo>
                  <a:cubicBezTo>
                    <a:pt x="982" y="426"/>
                    <a:pt x="982" y="426"/>
                    <a:pt x="982" y="426"/>
                  </a:cubicBezTo>
                  <a:cubicBezTo>
                    <a:pt x="993" y="400"/>
                    <a:pt x="999" y="371"/>
                    <a:pt x="999" y="341"/>
                  </a:cubicBezTo>
                  <a:cubicBezTo>
                    <a:pt x="999" y="215"/>
                    <a:pt x="899" y="113"/>
                    <a:pt x="777" y="113"/>
                  </a:cubicBezTo>
                  <a:cubicBezTo>
                    <a:pt x="751" y="113"/>
                    <a:pt x="726" y="118"/>
                    <a:pt x="703" y="127"/>
                  </a:cubicBezTo>
                  <a:cubicBezTo>
                    <a:pt x="642" y="49"/>
                    <a:pt x="548" y="0"/>
                    <a:pt x="444" y="0"/>
                  </a:cubicBezTo>
                  <a:cubicBezTo>
                    <a:pt x="260" y="0"/>
                    <a:pt x="111" y="152"/>
                    <a:pt x="111" y="341"/>
                  </a:cubicBezTo>
                  <a:cubicBezTo>
                    <a:pt x="111" y="370"/>
                    <a:pt x="115" y="399"/>
                    <a:pt x="122" y="426"/>
                  </a:cubicBezTo>
                  <a:cubicBezTo>
                    <a:pt x="54" y="428"/>
                    <a:pt x="0" y="484"/>
                    <a:pt x="0" y="554"/>
                  </a:cubicBezTo>
                  <a:cubicBezTo>
                    <a:pt x="0" y="625"/>
                    <a:pt x="56" y="682"/>
                    <a:pt x="125" y="682"/>
                  </a:cubicBezTo>
                  <a:cubicBezTo>
                    <a:pt x="985" y="682"/>
                    <a:pt x="985" y="682"/>
                    <a:pt x="985" y="682"/>
                  </a:cubicBezTo>
                  <a:cubicBezTo>
                    <a:pt x="1054" y="682"/>
                    <a:pt x="1109" y="625"/>
                    <a:pt x="1109" y="554"/>
                  </a:cubicBezTo>
                  <a:cubicBezTo>
                    <a:pt x="1109" y="483"/>
                    <a:pt x="1054" y="426"/>
                    <a:pt x="985" y="4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cs typeface="Segoe UI"/>
              </a:endParaRPr>
            </a:p>
          </p:txBody>
        </p:sp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CFD8E93B-08E8-452A-9EF9-AAF7EED67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473261" y="3552076"/>
              <a:ext cx="557323" cy="557323"/>
            </a:xfrm>
            <a:prstGeom prst="rect">
              <a:avLst/>
            </a:prstGeom>
          </p:spPr>
        </p:pic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6AB9D03D-0661-4EA8-AD06-ABFEFB7D38FC}"/>
                </a:ext>
              </a:extLst>
            </p:cNvPr>
            <p:cNvSpPr txBox="1"/>
            <p:nvPr/>
          </p:nvSpPr>
          <p:spPr>
            <a:xfrm>
              <a:off x="1996732" y="4184558"/>
              <a:ext cx="1814472" cy="4893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l" rtl="0">
                <a:lnSpc>
                  <a:spcPct val="90000"/>
                </a:lnSpc>
                <a:spcAft>
                  <a:spcPts val="600"/>
                </a:spcAft>
              </a:pPr>
              <a:r>
                <a:rPr lang="fr-fr" sz="1400" b="0" i="0" u="none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Sentinel</a:t>
              </a:r>
              <a:endParaRPr lang="fr-fr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bold"/>
              </a:endParaRPr>
            </a:p>
          </p:txBody>
        </p:sp>
      </p:grpSp>
      <p:pic>
        <p:nvPicPr>
          <p:cNvPr id="85" name="Graphic 84">
            <a:extLst>
              <a:ext uri="{FF2B5EF4-FFF2-40B4-BE49-F238E27FC236}">
                <a16:creationId xmlns:a16="http://schemas.microsoft.com/office/drawing/2014/main" id="{2182BC43-4ED8-4095-85B2-02266F61C1E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639836" y="-344382"/>
            <a:ext cx="2807112" cy="3111288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A796A33-7402-4FCB-BA80-140D4ED22F4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797232" y="3051594"/>
            <a:ext cx="594360" cy="594360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5D52F27C-C778-404E-8309-F9A3F08A096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969868" y="3010027"/>
            <a:ext cx="594360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751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Y18 Enterprise">
  <a:themeElements>
    <a:clrScheme name="Custom 4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0078D4"/>
      </a:hlink>
      <a:folHlink>
        <a:srgbClr val="0078D4"/>
      </a:folHlink>
    </a:clrScheme>
    <a:fontScheme name="Custom 10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C28266A38B74BB8736D79589A967D" ma:contentTypeVersion="16" ma:contentTypeDescription="Create a new document." ma:contentTypeScope="" ma:versionID="326c486aa047cea965d9b669c91a0e3d">
  <xsd:schema xmlns:xsd="http://www.w3.org/2001/XMLSchema" xmlns:xs="http://www.w3.org/2001/XMLSchema" xmlns:p="http://schemas.microsoft.com/office/2006/metadata/properties" xmlns:ns1="http://schemas.microsoft.com/sharepoint/v3" xmlns:ns2="3f419478-5607-4e24-9036-5a0e9a431bae" xmlns:ns3="f369e916-4bd8-4af9-b2c4-8613bc5330ef" targetNamespace="http://schemas.microsoft.com/office/2006/metadata/properties" ma:root="true" ma:fieldsID="f5adf2f608a6f426ea7108ba8eda9a32" ns1:_="" ns2:_="" ns3:_="">
    <xsd:import namespace="http://schemas.microsoft.com/sharepoint/v3"/>
    <xsd:import namespace="3f419478-5607-4e24-9036-5a0e9a431bae"/>
    <xsd:import namespace="f369e916-4bd8-4af9-b2c4-8613bc5330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419478-5607-4e24-9036-5a0e9a431b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9e916-4bd8-4af9-b2c4-8613bc5330e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4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5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4866A8F-5900-4C31-84DB-6148C63774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DF84324-7116-4B63-87AF-8ABE62907316}"/>
</file>

<file path=customXml/itemProps3.xml><?xml version="1.0" encoding="utf-8"?>
<ds:datastoreItem xmlns:ds="http://schemas.openxmlformats.org/officeDocument/2006/customXml" ds:itemID="{7F3BC782-4A06-498C-B87A-774AF2CF606D}">
  <ds:schemaRefs>
    <ds:schemaRef ds:uri="http://schemas.microsoft.com/office/2006/metadata/properties"/>
    <ds:schemaRef ds:uri="7a20bb1a-2526-436b-a0aa-406322af6dcc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0c1a6c9c-f016-4857-bf43-21b252e701d9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</TotalTime>
  <Words>171</Words>
  <Application>Microsoft Office PowerPoint</Application>
  <PresentationFormat>Custom</PresentationFormat>
  <Paragraphs>19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3_FY18 Enterprise</vt:lpstr>
      <vt:lpstr>PowerPoint Presentation</vt:lpstr>
    </vt:vector>
  </TitlesOfParts>
  <Company>Cinco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rie Solomon</dc:creator>
  <cp:lastModifiedBy>Acclaro Thailand Notebook02</cp:lastModifiedBy>
  <cp:revision>13</cp:revision>
  <cp:lastPrinted>2013-10-01T16:28:23Z</cp:lastPrinted>
  <dcterms:created xsi:type="dcterms:W3CDTF">2020-06-11T16:06:56Z</dcterms:created>
  <dcterms:modified xsi:type="dcterms:W3CDTF">2020-07-29T23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2C28266A38B74BB8736D79589A967D</vt:lpwstr>
  </property>
  <property fmtid="{D5CDD505-2E9C-101B-9397-08002B2CF9AE}" pid="3" name="Order">
    <vt:r8>525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TemplateUrl">
    <vt:lpwstr/>
  </property>
  <property fmtid="{D5CDD505-2E9C-101B-9397-08002B2CF9AE}" pid="9" name="ComplianceAssetId">
    <vt:lpwstr/>
  </property>
</Properties>
</file>